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6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1"/>
    <p:sldMasterId id="2147484766" r:id="rId2"/>
    <p:sldMasterId id="2147484702" r:id="rId3"/>
    <p:sldMasterId id="2147484292" r:id="rId4"/>
    <p:sldMasterId id="2147484701" r:id="rId5"/>
    <p:sldMasterId id="2147484537" r:id="rId6"/>
  </p:sldMasterIdLst>
  <p:sldIdLst>
    <p:sldId id="257" r:id="rId7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38" d="100"/>
          <a:sy n="138" d="100"/>
        </p:scale>
        <p:origin x="10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99.xml"/><Relationship Id="rId7" Type="http://schemas.openxmlformats.org/officeDocument/2006/relationships/image" Target="../media/image3.wmf"/><Relationship Id="rId2" Type="http://schemas.openxmlformats.org/officeDocument/2006/relationships/tags" Target="../tags/tag98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0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7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7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0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8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8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9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9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9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9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3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3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9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3789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1506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3752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38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4093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8473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540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275440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40504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7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8423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4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2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2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3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3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4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4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8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9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9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9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9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5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5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4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0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1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1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1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0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1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2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2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2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6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769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26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4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34.xml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34.xml"/><Relationship Id="rId9" Type="http://schemas.openxmlformats.org/officeDocument/2006/relationships/vmlDrawing" Target="../drawings/vmlDrawing3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tags" Target="../tags/tag4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tags" Target="../tags/tag42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vmlDrawing" Target="../drawings/vmlDrawing40.v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vmlDrawing" Target="../drawings/vmlDrawing70.v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oleObject" Target="../embeddings/oleObject70.bin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tags" Target="../tags/tag74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tags" Target="../tags/tag73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oleObject" Target="../embeddings/oleObject96.bin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ags" Target="../tags/tag101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tags" Target="../tags/tag100.xml"/><Relationship Id="rId5" Type="http://schemas.openxmlformats.org/officeDocument/2006/relationships/slideLayout" Target="../slideLayouts/slideLayout9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5.vml"/><Relationship Id="rId4" Type="http://schemas.openxmlformats.org/officeDocument/2006/relationships/slideLayout" Target="../slideLayouts/slideLayout94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9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34" Type="http://schemas.openxmlformats.org/officeDocument/2006/relationships/slideLayout" Target="../slideLayouts/slideLayout132.xml"/><Relationship Id="rId42" Type="http://schemas.openxmlformats.org/officeDocument/2006/relationships/slideLayout" Target="../slideLayouts/slideLayout140.xml"/><Relationship Id="rId47" Type="http://schemas.openxmlformats.org/officeDocument/2006/relationships/tags" Target="../tags/tag104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33" Type="http://schemas.openxmlformats.org/officeDocument/2006/relationships/slideLayout" Target="../slideLayouts/slideLayout131.xml"/><Relationship Id="rId38" Type="http://schemas.openxmlformats.org/officeDocument/2006/relationships/slideLayout" Target="../slideLayouts/slideLayout136.xml"/><Relationship Id="rId46" Type="http://schemas.openxmlformats.org/officeDocument/2006/relationships/tags" Target="../tags/tag10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27.xml"/><Relationship Id="rId41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slideLayout" Target="../slideLayouts/slideLayout130.xml"/><Relationship Id="rId37" Type="http://schemas.openxmlformats.org/officeDocument/2006/relationships/slideLayout" Target="../slideLayouts/slideLayout135.xml"/><Relationship Id="rId40" Type="http://schemas.openxmlformats.org/officeDocument/2006/relationships/slideLayout" Target="../slideLayouts/slideLayout138.xml"/><Relationship Id="rId45" Type="http://schemas.openxmlformats.org/officeDocument/2006/relationships/vmlDrawing" Target="../drawings/vmlDrawing97.v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36" Type="http://schemas.openxmlformats.org/officeDocument/2006/relationships/slideLayout" Target="../slideLayouts/slideLayout134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slideLayout" Target="../slideLayouts/slideLayout129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slideLayout" Target="../slideLayouts/slideLayout128.xml"/><Relationship Id="rId35" Type="http://schemas.openxmlformats.org/officeDocument/2006/relationships/slideLayout" Target="../slideLayouts/slideLayout133.xml"/><Relationship Id="rId43" Type="http://schemas.openxmlformats.org/officeDocument/2006/relationships/slideLayout" Target="../slideLayouts/slideLayout141.xml"/><Relationship Id="rId48" Type="http://schemas.openxmlformats.org/officeDocument/2006/relationships/oleObject" Target="../embeddings/oleObject98.bin"/><Relationship Id="rId8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16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5" r:id="rId26"/>
    <p:sldLayoutId id="2147484776" r:id="rId27"/>
    <p:sldLayoutId id="2147484777" r:id="rId28"/>
    <p:sldLayoutId id="2147484774" r:id="rId29"/>
    <p:sldLayoutId id="2147484778" r:id="rId3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0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47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16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79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59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008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microsoft.com/office/2007/relationships/hdphoto" Target="../media/hdphoto1.wdp"/><Relationship Id="rId2" Type="http://schemas.openxmlformats.org/officeDocument/2006/relationships/tags" Target="../tags/tag148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7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4623" b="34623"/>
          <a:stretch/>
        </p:blipFill>
        <p:spPr/>
      </p:pic>
      <p:pic>
        <p:nvPicPr>
          <p:cNvPr id="63" name="Рисунок 62"/>
          <p:cNvPicPr>
            <a:picLocks noGrp="1" noChangeAspect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65" name="Рисунок 64"/>
          <p:cNvPicPr>
            <a:picLocks noGrp="1" noChangeAspect="1"/>
          </p:cNvPicPr>
          <p:nvPr>
            <p:ph type="pic" sz="quarter" idx="14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" r="46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Стирольные пластики ПАО «НКНХ»</a:t>
            </a:r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5"/>
          </p:nvPr>
        </p:nvSpPr>
        <p:spPr>
          <a:xfrm>
            <a:off x="358776" y="1334780"/>
            <a:ext cx="5866764" cy="485775"/>
          </a:xfrm>
        </p:spPr>
        <p:txBody>
          <a:bodyPr/>
          <a:lstStyle/>
          <a:p>
            <a:r>
              <a:rPr lang="ru-RU" dirty="0" smtClean="0"/>
              <a:t>Марочный ассортимент стирольных пластиков ПАО Нижнекамскнефтехим и особенности их переработ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4364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5B72517F-AA38-47A4-932C-FA668E096836}" vid="{07E21B4A-3649-473F-ADBF-387E80862A45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7B83130-DE68-4CA1-95EB-2442DD47DB32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1148018-2C53-40A7-BFBE-D7ECC5407A4A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15C9956A-3952-4E3C-8C19-320BBFA043C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</TotalTime>
  <Words>16</Words>
  <Application>Microsoft Office PowerPoint</Application>
  <PresentationFormat>Экран (16:9)</PresentationFormat>
  <Paragraphs>2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Roboto</vt:lpstr>
      <vt:lpstr>Wingdings</vt:lpstr>
      <vt:lpstr>Default Theme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Стирольные пластики ПАО «НКНХ»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ирольные пластики ПАО «НКНХ»</dc:title>
  <dc:creator>Борисенко Владимир Николаевич</dc:creator>
  <cp:lastModifiedBy>Борисенко Владимир Николаевич</cp:lastModifiedBy>
  <cp:revision>1</cp:revision>
  <dcterms:created xsi:type="dcterms:W3CDTF">2023-08-14T04:47:10Z</dcterms:created>
  <dcterms:modified xsi:type="dcterms:W3CDTF">2023-08-14T04:50:38Z</dcterms:modified>
</cp:coreProperties>
</file>